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3"/>
  </p:notesMasterIdLst>
  <p:sldIdLst>
    <p:sldId id="267" r:id="rId5"/>
    <p:sldId id="256" r:id="rId6"/>
    <p:sldId id="257" r:id="rId7"/>
    <p:sldId id="258" r:id="rId8"/>
    <p:sldId id="259" r:id="rId9"/>
    <p:sldId id="260" r:id="rId10"/>
    <p:sldId id="280" r:id="rId11"/>
    <p:sldId id="281" r:id="rId12"/>
    <p:sldId id="261" r:id="rId13"/>
    <p:sldId id="262" r:id="rId14"/>
    <p:sldId id="263" r:id="rId15"/>
    <p:sldId id="264" r:id="rId16"/>
    <p:sldId id="265" r:id="rId17"/>
    <p:sldId id="266" r:id="rId18"/>
    <p:sldId id="268" r:id="rId19"/>
    <p:sldId id="269" r:id="rId20"/>
    <p:sldId id="270" r:id="rId21"/>
    <p:sldId id="278" r:id="rId22"/>
    <p:sldId id="284" r:id="rId23"/>
    <p:sldId id="271" r:id="rId24"/>
    <p:sldId id="272" r:id="rId25"/>
    <p:sldId id="274" r:id="rId26"/>
    <p:sldId id="279" r:id="rId27"/>
    <p:sldId id="273" r:id="rId28"/>
    <p:sldId id="275" r:id="rId29"/>
    <p:sldId id="282" r:id="rId30"/>
    <p:sldId id="276" r:id="rId31"/>
    <p:sldId id="277" r:id="rId32"/>
  </p:sldIdLst>
  <p:sldSz cx="9144000" cy="6858000" type="screen4x3"/>
  <p:notesSz cx="6858000" cy="9144000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294" autoAdjust="0"/>
    <p:restoredTop sz="94660"/>
  </p:normalViewPr>
  <p:slideViewPr>
    <p:cSldViewPr>
      <p:cViewPr varScale="1">
        <p:scale>
          <a:sx n="83" d="100"/>
          <a:sy n="83" d="100"/>
        </p:scale>
        <p:origin x="1373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658B88-4004-4E5C-A879-D3741BF5EFD0}" type="datetimeFigureOut">
              <a:rPr lang="en-US" smtClean="0"/>
              <a:t>8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59CCAC-B055-45F6-A5E8-31E4193D4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430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A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669255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875792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9447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421762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22172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85170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67329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06119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30249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88243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A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34708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2882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A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A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0275E4-DDE0-4BC0-9FB7-24674E8068D9}" type="datetimeFigureOut">
              <a:rPr lang="de-AT" smtClean="0"/>
              <a:t>03.08.2022</a:t>
            </a:fld>
            <a:endParaRPr lang="de-A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21D85E-9563-4D56-9701-49B17D6064F6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54581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9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10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11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12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13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14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15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6" Type="http://schemas.openxmlformats.org/officeDocument/2006/relationships/image" Target="../media/image16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6" Type="http://schemas.openxmlformats.org/officeDocument/2006/relationships/image" Target="../media/image3.jp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19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6" Type="http://schemas.openxmlformats.org/officeDocument/2006/relationships/hyperlink" Target="https://github.com/Dlang-UPB/D-scanner" TargetMode="Externa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7524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fullsizeoutput_2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 rot="3610">
            <a:off x="2026847" y="549807"/>
            <a:ext cx="2147157" cy="151947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683671" y="3140968"/>
            <a:ext cx="8405032" cy="66365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Integrating D Language </a:t>
            </a:r>
          </a:p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Compiler in D-Scanner</a:t>
            </a:r>
          </a:p>
        </p:txBody>
      </p:sp>
      <p:sp>
        <p:nvSpPr>
          <p:cNvPr id="7" name="Subtitle 3"/>
          <p:cNvSpPr txBox="1">
            <a:spLocks noGrp="1"/>
          </p:cNvSpPr>
          <p:nvPr>
            <p:ph type="subTitle" idx="4294967295"/>
          </p:nvPr>
        </p:nvSpPr>
        <p:spPr>
          <a:xfrm>
            <a:off x="611560" y="4033592"/>
            <a:ext cx="8405032" cy="979584"/>
          </a:xfrm>
        </p:spPr>
        <p:txBody>
          <a:bodyPr anchor="t" anchorCtr="1">
            <a:noAutofit/>
          </a:bodyPr>
          <a:lstStyle/>
          <a:p>
            <a:pPr marL="0" lvl="0" indent="0" algn="ctr">
              <a:spcBef>
                <a:spcPts val="0"/>
              </a:spcBef>
              <a:buNone/>
              <a:tabLst>
                <a:tab pos="0" algn="l"/>
                <a:tab pos="583917" algn="l"/>
                <a:tab pos="1168200" algn="l"/>
                <a:tab pos="1752475" algn="l"/>
                <a:tab pos="2336758" algn="l"/>
                <a:tab pos="2920675" algn="l"/>
                <a:tab pos="3504959" algn="l"/>
                <a:tab pos="4089242" algn="l"/>
                <a:tab pos="4673516" algn="l"/>
                <a:tab pos="5257800" algn="l"/>
                <a:tab pos="5841717" algn="l"/>
                <a:tab pos="6426000" algn="l"/>
                <a:tab pos="7010284" algn="l"/>
                <a:tab pos="7594558" algn="l"/>
                <a:tab pos="8178475" algn="l"/>
                <a:tab pos="8762759" algn="l"/>
                <a:tab pos="9347042" algn="l"/>
                <a:tab pos="9931316" algn="l"/>
                <a:tab pos="10515600" algn="l"/>
              </a:tabLst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anescu Lucian</a:t>
            </a:r>
          </a:p>
          <a:p>
            <a:pPr marL="0" lvl="0" indent="0" algn="ctr">
              <a:spcBef>
                <a:spcPts val="0"/>
              </a:spcBef>
              <a:buNone/>
              <a:tabLst>
                <a:tab pos="0" algn="l"/>
                <a:tab pos="583917" algn="l"/>
                <a:tab pos="1168200" algn="l"/>
                <a:tab pos="1752475" algn="l"/>
                <a:tab pos="2336758" algn="l"/>
                <a:tab pos="2920675" algn="l"/>
                <a:tab pos="3504959" algn="l"/>
                <a:tab pos="4089242" algn="l"/>
                <a:tab pos="4673516" algn="l"/>
                <a:tab pos="5257800" algn="l"/>
                <a:tab pos="5841717" algn="l"/>
                <a:tab pos="6426000" algn="l"/>
                <a:tab pos="7010284" algn="l"/>
                <a:tab pos="7594558" algn="l"/>
                <a:tab pos="8178475" algn="l"/>
                <a:tab pos="8762759" algn="l"/>
                <a:tab pos="9347042" algn="l"/>
                <a:tab pos="9931316" algn="l"/>
                <a:tab pos="10515600" algn="l"/>
              </a:tabLst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University POLITEHNICA of Bucharest</a:t>
            </a:r>
          </a:p>
        </p:txBody>
      </p:sp>
      <p:sp>
        <p:nvSpPr>
          <p:cNvPr id="8" name="Rectangle 4"/>
          <p:cNvSpPr/>
          <p:nvPr/>
        </p:nvSpPr>
        <p:spPr>
          <a:xfrm>
            <a:off x="2339752" y="5152184"/>
            <a:ext cx="4343044" cy="841171"/>
          </a:xfrm>
          <a:custGeom>
            <a:avLst/>
            <a:gdLst>
              <a:gd name="f0" fmla="val w"/>
              <a:gd name="f1" fmla="val h"/>
              <a:gd name="f2" fmla="val 0"/>
              <a:gd name="f3" fmla="val 21600"/>
              <a:gd name="f4" fmla="*/ f0 1 21600"/>
              <a:gd name="f5" fmla="*/ f1 1 21600"/>
              <a:gd name="f6" fmla="+- f3 0 f2"/>
              <a:gd name="f7" fmla="*/ f6 1 21600"/>
              <a:gd name="f8" fmla="*/ f2 1 f7"/>
              <a:gd name="f9" fmla="*/ f3 1 f7"/>
              <a:gd name="f10" fmla="*/ f8 f4 1"/>
              <a:gd name="f11" fmla="*/ f9 f4 1"/>
              <a:gd name="f12" fmla="*/ f9 f5 1"/>
              <a:gd name="f13" fmla="*/ f8 f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0" t="f13" r="f11" b="f12"/>
            <a:pathLst>
              <a:path w="21600" h="21600">
                <a:moveTo>
                  <a:pt x="f2" y="f2"/>
                </a:moveTo>
                <a:lnTo>
                  <a:pt x="f3" y="f2"/>
                </a:lnTo>
                <a:lnTo>
                  <a:pt x="f3" y="f3"/>
                </a:lnTo>
                <a:lnTo>
                  <a:pt x="f2" y="f3"/>
                </a:lnTo>
                <a:lnTo>
                  <a:pt x="f2" y="f2"/>
                </a:lnTo>
                <a:close/>
              </a:path>
            </a:pathLst>
          </a:custGeom>
          <a:noFill/>
          <a:ln cap="flat">
            <a:noFill/>
            <a:prstDash val="solid"/>
          </a:ln>
        </p:spPr>
        <p:txBody>
          <a:bodyPr vert="horz" wrap="square" lIns="50758" tIns="50758" rIns="50758" bIns="50758" anchor="ctr" anchorCtr="1" compatLnSpc="1">
            <a:spAutoFit/>
          </a:bodyPr>
          <a:lstStyle/>
          <a:p>
            <a:pPr marL="0" marR="0" lvl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83917" algn="l"/>
                <a:tab pos="1168200" algn="l"/>
                <a:tab pos="1752475" algn="l"/>
                <a:tab pos="2336758" algn="l"/>
                <a:tab pos="2920675" algn="l"/>
                <a:tab pos="3504959" algn="l"/>
                <a:tab pos="4089242" algn="l"/>
                <a:tab pos="4673516" algn="l"/>
                <a:tab pos="5257800" algn="l"/>
                <a:tab pos="5841717" algn="l"/>
                <a:tab pos="6426000" algn="l"/>
                <a:tab pos="7010284" algn="l"/>
                <a:tab pos="7594558" algn="l"/>
                <a:tab pos="8178475" algn="l"/>
                <a:tab pos="8762759" algn="l"/>
                <a:tab pos="9347042" algn="l"/>
                <a:tab pos="9931316" algn="l"/>
                <a:tab pos="105156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0" i="0" u="none" strike="noStrike" kern="1200" cap="none" spc="0" baseline="0" dirty="0" err="1">
                <a:solidFill>
                  <a:srgbClr val="000000"/>
                </a:solidFill>
                <a:uFillTx/>
                <a:latin typeface="Arial" panose="020B0604020202020204" pitchFamily="34" charset="0"/>
                <a:ea typeface="Helvetica Light" pitchFamily="2"/>
                <a:cs typeface="Arial" panose="020B0604020202020204" pitchFamily="34" charset="0"/>
              </a:rPr>
              <a:t>DConf</a:t>
            </a:r>
            <a:r>
              <a:rPr lang="en-US" sz="2400" b="0" i="0" u="none" strike="noStrike" kern="1200" cap="none" spc="0" baseline="0" dirty="0">
                <a:solidFill>
                  <a:srgbClr val="000000"/>
                </a:solidFill>
                <a:uFillTx/>
                <a:latin typeface="Arial" panose="020B0604020202020204" pitchFamily="34" charset="0"/>
                <a:ea typeface="Helvetica Light" pitchFamily="2"/>
                <a:cs typeface="Arial" panose="020B0604020202020204" pitchFamily="34" charset="0"/>
              </a:rPr>
              <a:t> 2022</a:t>
            </a:r>
          </a:p>
          <a:p>
            <a:pPr marL="0" marR="0" lvl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83917" algn="l"/>
                <a:tab pos="1168200" algn="l"/>
                <a:tab pos="1752475" algn="l"/>
                <a:tab pos="2336758" algn="l"/>
                <a:tab pos="2920675" algn="l"/>
                <a:tab pos="3504959" algn="l"/>
                <a:tab pos="4089242" algn="l"/>
                <a:tab pos="4673516" algn="l"/>
                <a:tab pos="5257800" algn="l"/>
                <a:tab pos="5841717" algn="l"/>
                <a:tab pos="6426000" algn="l"/>
                <a:tab pos="7010284" algn="l"/>
                <a:tab pos="7594558" algn="l"/>
                <a:tab pos="8178475" algn="l"/>
                <a:tab pos="8762759" algn="l"/>
                <a:tab pos="9347042" algn="l"/>
                <a:tab pos="9931316" algn="l"/>
                <a:tab pos="105156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0" i="0" u="none" strike="noStrike" kern="1200" cap="none" spc="0" baseline="0" dirty="0">
                <a:solidFill>
                  <a:srgbClr val="000000"/>
                </a:solidFill>
                <a:uFillTx/>
                <a:latin typeface="Arial" panose="020B0604020202020204" pitchFamily="34" charset="0"/>
                <a:ea typeface="Helvetica Light" pitchFamily="2"/>
                <a:cs typeface="Arial" panose="020B0604020202020204" pitchFamily="34" charset="0"/>
              </a:rPr>
              <a:t>London, August 1-4, 2022</a:t>
            </a:r>
          </a:p>
        </p:txBody>
      </p:sp>
      <p:pic>
        <p:nvPicPr>
          <p:cNvPr id="9" name="Picture 8" descr="fullsizeoutput_1.jpeg"/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5508104" y="553359"/>
            <a:ext cx="1629304" cy="1517046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8561297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092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Base vs </a:t>
            </a:r>
            <a:r>
              <a:rPr lang="en-US" sz="3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Codegen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0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2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9712" y="1207963"/>
            <a:ext cx="4567920" cy="4466866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852199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8451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Base vs </a:t>
            </a:r>
            <a:r>
              <a:rPr lang="en-US" sz="3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Codegen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1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Text Placeholder 2"/>
          <p:cNvSpPr txBox="1"/>
          <p:nvPr/>
        </p:nvSpPr>
        <p:spPr>
          <a:xfrm>
            <a:off x="576355" y="914381"/>
            <a:ext cx="8316125" cy="13264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50758" tIns="50758" rIns="50758" bIns="50758" anchor="t" anchorCtr="0" compatLnSpc="1">
            <a:no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None/>
              <a:tabLst>
                <a:tab pos="139683" algn="l"/>
                <a:tab pos="723601" algn="l"/>
                <a:tab pos="1307875" algn="l"/>
                <a:tab pos="1892158" algn="l"/>
                <a:tab pos="2476442" algn="l"/>
                <a:tab pos="3060359" algn="l"/>
                <a:tab pos="3644642" algn="l"/>
                <a:tab pos="4228917" algn="l"/>
                <a:tab pos="4813200" algn="l"/>
                <a:tab pos="5397483" algn="l"/>
                <a:tab pos="5981401" algn="l"/>
                <a:tab pos="6565675" algn="l"/>
                <a:tab pos="7149958" algn="l"/>
                <a:tab pos="7734242" algn="l"/>
                <a:tab pos="8318159" algn="l"/>
                <a:tab pos="8902442" algn="l"/>
                <a:tab pos="9486717" algn="l"/>
                <a:tab pos="100710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 b="0" i="0" u="none" strike="noStrike" kern="0" cap="none" spc="0" baseline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following code exists both in </a:t>
            </a:r>
            <a:r>
              <a:rPr lang="en-US" sz="2800" b="0" i="0" u="none" strike="noStrike" kern="0" cap="none" spc="0" baseline="0" dirty="0" err="1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uFillTx/>
                <a:latin typeface="Arial" panose="020B0604020202020204" pitchFamily="34" charset="0"/>
                <a:cs typeface="Arial" panose="020B0604020202020204" pitchFamily="34" charset="0"/>
              </a:rPr>
              <a:t>astbase.d</a:t>
            </a:r>
            <a:r>
              <a:rPr lang="en-US" sz="2800" b="0" i="0" u="none" strike="noStrike" kern="0" cap="none" spc="0" baseline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800" b="0" i="0" u="none" strike="noStrike" kern="0" cap="none" spc="0" baseline="0" dirty="0" err="1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uFillTx/>
                <a:latin typeface="Arial" panose="020B0604020202020204" pitchFamily="34" charset="0"/>
                <a:cs typeface="Arial" panose="020B0604020202020204" pitchFamily="34" charset="0"/>
              </a:rPr>
              <a:t>attrrib.d</a:t>
            </a:r>
            <a:r>
              <a:rPr lang="en-US" sz="2800" b="0" i="0" u="none" strike="noStrike" kern="0" cap="none" spc="0" baseline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uFillTx/>
                <a:latin typeface="Arial" panose="020B0604020202020204" pitchFamily="34" charset="0"/>
                <a:cs typeface="Arial" panose="020B0604020202020204" pitchFamily="34" charset="0"/>
              </a:rPr>
              <a:t>, and there is a similar situation for all AST nodes.</a:t>
            </a:r>
          </a:p>
        </p:txBody>
      </p:sp>
      <p:pic>
        <p:nvPicPr>
          <p:cNvPr id="14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756" y="2328869"/>
            <a:ext cx="8471724" cy="3476395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520939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Base vs </a:t>
            </a:r>
            <a:r>
              <a:rPr lang="en-US" sz="3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Codegen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39552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2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Text Placeholder 2"/>
          <p:cNvSpPr txBox="1"/>
          <p:nvPr/>
        </p:nvSpPr>
        <p:spPr>
          <a:xfrm>
            <a:off x="576355" y="1124743"/>
            <a:ext cx="8316125" cy="111613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50758" tIns="50758" rIns="50758" bIns="50758" anchor="t" anchorCtr="0" compatLnSpc="1">
            <a:noAutofit/>
          </a:bodyPr>
          <a:lstStyle/>
          <a:p>
            <a:pPr lvl="0" hangingPunct="0">
              <a:spcBef>
                <a:spcPts val="4200"/>
              </a:spcBef>
              <a:tabLst>
                <a:tab pos="139683" algn="l"/>
                <a:tab pos="723601" algn="l"/>
                <a:tab pos="1307875" algn="l"/>
                <a:tab pos="1892158" algn="l"/>
                <a:tab pos="2476442" algn="l"/>
                <a:tab pos="3060359" algn="l"/>
                <a:tab pos="3644642" algn="l"/>
                <a:tab pos="4228917" algn="l"/>
                <a:tab pos="4813200" algn="l"/>
                <a:tab pos="5397483" algn="l"/>
                <a:tab pos="5981401" algn="l"/>
                <a:tab pos="6565675" algn="l"/>
                <a:tab pos="7149958" algn="l"/>
                <a:tab pos="7734242" algn="l"/>
                <a:tab pos="8318159" algn="l"/>
                <a:tab pos="8902442" algn="l"/>
                <a:tab pos="9486717" algn="l"/>
                <a:tab pos="100710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 kern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latin typeface="Arial" panose="020B0604020202020204" pitchFamily="34" charset="0"/>
                <a:cs typeface="Arial" panose="020B0604020202020204" pitchFamily="34" charset="0"/>
              </a:rPr>
              <a:t>Mixin templates to the rescue!</a:t>
            </a:r>
          </a:p>
        </p:txBody>
      </p:sp>
      <p:pic>
        <p:nvPicPr>
          <p:cNvPr id="12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555" y="1961557"/>
            <a:ext cx="8014886" cy="333965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007646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8352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ors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13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68816" y="1150823"/>
            <a:ext cx="7763623" cy="4366409"/>
          </a:xfrm>
        </p:spPr>
        <p:txBody>
          <a:bodyPr anchor="ctr">
            <a:no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se time visitor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rict visitor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missive visitor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nsitive visitor</a:t>
            </a:r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de-AT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antic time transitive visitor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de-AT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antic time permissive visitor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440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479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se Time Visito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4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Text Placeholder 2"/>
          <p:cNvSpPr txBox="1"/>
          <p:nvPr/>
        </p:nvSpPr>
        <p:spPr>
          <a:xfrm>
            <a:off x="576355" y="1124743"/>
            <a:ext cx="8316125" cy="111613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50758" tIns="50758" rIns="50758" bIns="50758" anchor="t" anchorCtr="0" compatLnSpc="1">
            <a:noAutofit/>
          </a:bodyPr>
          <a:lstStyle/>
          <a:p>
            <a:pPr lvl="0" hangingPunct="0">
              <a:spcBef>
                <a:spcPts val="4200"/>
              </a:spcBef>
              <a:tabLst>
                <a:tab pos="139683" algn="l"/>
                <a:tab pos="723601" algn="l"/>
                <a:tab pos="1307875" algn="l"/>
                <a:tab pos="1892158" algn="l"/>
                <a:tab pos="2476442" algn="l"/>
                <a:tab pos="3060359" algn="l"/>
                <a:tab pos="3644642" algn="l"/>
                <a:tab pos="4228917" algn="l"/>
                <a:tab pos="4813200" algn="l"/>
                <a:tab pos="5397483" algn="l"/>
                <a:tab pos="5981401" algn="l"/>
                <a:tab pos="6565675" algn="l"/>
                <a:tab pos="7149958" algn="l"/>
                <a:tab pos="7734242" algn="l"/>
                <a:tab pos="8318159" algn="l"/>
                <a:tab pos="8902442" algn="l"/>
                <a:tab pos="9486717" algn="l"/>
                <a:tab pos="100710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 kern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latin typeface="Arial" panose="020B0604020202020204" pitchFamily="34" charset="0"/>
                <a:cs typeface="Arial" panose="020B0604020202020204" pitchFamily="34" charset="0"/>
              </a:rPr>
              <a:t>Basic and dummy visitor which implements a visit method for each AST node implemented in AS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0CF13B-6D1D-017A-E08E-0F0C8D8E6B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817" y="2636912"/>
            <a:ext cx="6354062" cy="1886213"/>
          </a:xfrm>
          <a:prstGeom prst="rect">
            <a:avLst/>
          </a:prstGeom>
        </p:spPr>
      </p:pic>
      <p:sp>
        <p:nvSpPr>
          <p:cNvPr id="7" name="Rectangle 14">
            <a:extLst>
              <a:ext uri="{FF2B5EF4-FFF2-40B4-BE49-F238E27FC236}">
                <a16:creationId xmlns:a16="http://schemas.microsoft.com/office/drawing/2014/main" id="{99E658F7-DC3F-6DE0-2359-D30D0A270C28}"/>
              </a:ext>
            </a:extLst>
          </p:cNvPr>
          <p:cNvSpPr/>
          <p:nvPr/>
        </p:nvSpPr>
        <p:spPr>
          <a:xfrm>
            <a:off x="1026576" y="3068960"/>
            <a:ext cx="5838543" cy="344055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BE647543-0268-28E2-E1EF-136EACF41920}"/>
              </a:ext>
            </a:extLst>
          </p:cNvPr>
          <p:cNvSpPr/>
          <p:nvPr/>
        </p:nvSpPr>
        <p:spPr>
          <a:xfrm>
            <a:off x="1022097" y="3272958"/>
            <a:ext cx="5838543" cy="344055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86181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7" grpId="0" animBg="1"/>
      <p:bldP spid="7" grpId="1" animBg="1"/>
      <p:bldP spid="12" grpId="0" animBg="1"/>
      <p:bldP spid="12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676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ict Visito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5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Text Placeholder 2"/>
          <p:cNvSpPr txBox="1"/>
          <p:nvPr/>
        </p:nvSpPr>
        <p:spPr>
          <a:xfrm>
            <a:off x="576355" y="1124743"/>
            <a:ext cx="8316125" cy="111613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50758" tIns="50758" rIns="50758" bIns="50758" anchor="t" anchorCtr="0" compatLnSpc="1">
            <a:noAutofit/>
          </a:bodyPr>
          <a:lstStyle/>
          <a:p>
            <a:pPr lvl="0" hangingPunct="0">
              <a:spcBef>
                <a:spcPts val="4200"/>
              </a:spcBef>
              <a:tabLst>
                <a:tab pos="139683" algn="l"/>
                <a:tab pos="723601" algn="l"/>
                <a:tab pos="1307875" algn="l"/>
                <a:tab pos="1892158" algn="l"/>
                <a:tab pos="2476442" algn="l"/>
                <a:tab pos="3060359" algn="l"/>
                <a:tab pos="3644642" algn="l"/>
                <a:tab pos="4228917" algn="l"/>
                <a:tab pos="4813200" algn="l"/>
                <a:tab pos="5397483" algn="l"/>
                <a:tab pos="5981401" algn="l"/>
                <a:tab pos="6565675" algn="l"/>
                <a:tab pos="7149958" algn="l"/>
                <a:tab pos="7734242" algn="l"/>
                <a:tab pos="8318159" algn="l"/>
                <a:tab pos="8902442" algn="l"/>
                <a:tab pos="9486717" algn="l"/>
                <a:tab pos="100710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 kern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 Strict Visitor asserts 0 an all visiting functions in order to make sure all the nodes are visited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D8F80C-7C6D-E889-19DB-D17F07A4FD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817" y="2649512"/>
            <a:ext cx="6163535" cy="190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773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852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ssive Visito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6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Text Placeholder 2"/>
          <p:cNvSpPr txBox="1"/>
          <p:nvPr/>
        </p:nvSpPr>
        <p:spPr>
          <a:xfrm>
            <a:off x="576355" y="1124743"/>
            <a:ext cx="8316125" cy="111613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50758" tIns="50758" rIns="50758" bIns="50758" anchor="t" anchorCtr="0" compatLnSpc="1">
            <a:noAutofit/>
          </a:bodyPr>
          <a:lstStyle/>
          <a:p>
            <a:pPr lvl="0" hangingPunct="0">
              <a:spcBef>
                <a:spcPts val="4200"/>
              </a:spcBef>
              <a:tabLst>
                <a:tab pos="139683" algn="l"/>
                <a:tab pos="723601" algn="l"/>
                <a:tab pos="1307875" algn="l"/>
                <a:tab pos="1892158" algn="l"/>
                <a:tab pos="2476442" algn="l"/>
                <a:tab pos="3060359" algn="l"/>
                <a:tab pos="3644642" algn="l"/>
                <a:tab pos="4228917" algn="l"/>
                <a:tab pos="4813200" algn="l"/>
                <a:tab pos="5397483" algn="l"/>
                <a:tab pos="5981401" algn="l"/>
                <a:tab pos="6565675" algn="l"/>
                <a:tab pos="7149958" algn="l"/>
                <a:tab pos="7734242" algn="l"/>
                <a:tab pos="8318159" algn="l"/>
                <a:tab pos="8902442" algn="l"/>
                <a:tab pos="9486717" algn="l"/>
                <a:tab pos="100710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 kern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latin typeface="Arial" panose="020B0604020202020204" pitchFamily="34" charset="0"/>
                <a:cs typeface="Arial" panose="020B0604020202020204" pitchFamily="34" charset="0"/>
              </a:rPr>
              <a:t>Permissive Visitor overrides all the visit methods in  the parent class that assert(0) in order to facilitate the traversal of subsets of the AS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319171-EBA8-11D8-EA55-268662CC96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817" y="3171466"/>
            <a:ext cx="6030167" cy="1943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333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254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ive Visito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7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Text Placeholder 2"/>
          <p:cNvSpPr txBox="1"/>
          <p:nvPr/>
        </p:nvSpPr>
        <p:spPr>
          <a:xfrm>
            <a:off x="576355" y="1124743"/>
            <a:ext cx="8316125" cy="111613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50758" tIns="50758" rIns="50758" bIns="50758" anchor="t" anchorCtr="0" compatLnSpc="1">
            <a:noAutofit/>
          </a:bodyPr>
          <a:lstStyle/>
          <a:p>
            <a:pPr lvl="0" hangingPunct="0">
              <a:spcBef>
                <a:spcPts val="4200"/>
              </a:spcBef>
              <a:tabLst>
                <a:tab pos="139683" algn="l"/>
                <a:tab pos="723601" algn="l"/>
                <a:tab pos="1307875" algn="l"/>
                <a:tab pos="1892158" algn="l"/>
                <a:tab pos="2476442" algn="l"/>
                <a:tab pos="3060359" algn="l"/>
                <a:tab pos="3644642" algn="l"/>
                <a:tab pos="4228917" algn="l"/>
                <a:tab pos="4813200" algn="l"/>
                <a:tab pos="5397483" algn="l"/>
                <a:tab pos="5981401" algn="l"/>
                <a:tab pos="6565675" algn="l"/>
                <a:tab pos="7149958" algn="l"/>
                <a:tab pos="7734242" algn="l"/>
                <a:tab pos="8318159" algn="l"/>
                <a:tab pos="8902442" algn="l"/>
                <a:tab pos="9486717" algn="l"/>
                <a:tab pos="100710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 kern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latin typeface="Arial" panose="020B0604020202020204" pitchFamily="34" charset="0"/>
                <a:cs typeface="Arial" panose="020B0604020202020204" pitchFamily="34" charset="0"/>
              </a:rPr>
              <a:t>Transitive Visitor implements the AST Traversal logic. Each node accepts it’s childre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71D007-18BE-DAD7-BFE3-2C9CE6949A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3186" y="2708920"/>
            <a:ext cx="6944694" cy="232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896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antic time visitors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8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Text Placeholder 2"/>
          <p:cNvSpPr txBox="1"/>
          <p:nvPr/>
        </p:nvSpPr>
        <p:spPr>
          <a:xfrm>
            <a:off x="576355" y="1124743"/>
            <a:ext cx="8316125" cy="504056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50758" tIns="50758" rIns="50758" bIns="50758" anchor="t" anchorCtr="0" compatLnSpc="1">
            <a:noAutofit/>
          </a:bodyPr>
          <a:lstStyle/>
          <a:p>
            <a:pPr lvl="0" hangingPunct="0">
              <a:spcBef>
                <a:spcPts val="4200"/>
              </a:spcBef>
              <a:tabLst>
                <a:tab pos="139683" algn="l"/>
                <a:tab pos="723601" algn="l"/>
                <a:tab pos="1307875" algn="l"/>
                <a:tab pos="1892158" algn="l"/>
                <a:tab pos="2476442" algn="l"/>
                <a:tab pos="3060359" algn="l"/>
                <a:tab pos="3644642" algn="l"/>
                <a:tab pos="4228917" algn="l"/>
                <a:tab pos="4813200" algn="l"/>
                <a:tab pos="5397483" algn="l"/>
                <a:tab pos="5981401" algn="l"/>
                <a:tab pos="6565675" algn="l"/>
                <a:tab pos="7149958" algn="l"/>
                <a:tab pos="7734242" algn="l"/>
                <a:tab pos="8318159" algn="l"/>
                <a:tab pos="8902442" algn="l"/>
                <a:tab pos="9486717" algn="l"/>
                <a:tab pos="100710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800" kern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mantic time visitors offer the same functionalities, but are using </a:t>
            </a:r>
            <a:r>
              <a:rPr lang="en-US" sz="2800" kern="0" dirty="0" err="1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latin typeface="Arial" panose="020B0604020202020204" pitchFamily="34" charset="0"/>
                <a:cs typeface="Arial" panose="020B0604020202020204" pitchFamily="34" charset="0"/>
              </a:rPr>
              <a:t>ASTCodegen</a:t>
            </a:r>
            <a:endParaRPr lang="en-US" sz="2800" kern="0" dirty="0">
              <a:solidFill>
                <a:srgbClr val="000000"/>
              </a:solidFill>
              <a:highlight>
                <a:scrgbClr r="0" g="0" b="0">
                  <a:alpha val="0"/>
                </a:scrgbClr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hangingPunct="0">
              <a:spcBef>
                <a:spcPts val="4200"/>
              </a:spcBef>
              <a:tabLst>
                <a:tab pos="139683" algn="l"/>
                <a:tab pos="723601" algn="l"/>
                <a:tab pos="1307875" algn="l"/>
                <a:tab pos="1892158" algn="l"/>
                <a:tab pos="2476442" algn="l"/>
                <a:tab pos="3060359" algn="l"/>
                <a:tab pos="3644642" algn="l"/>
                <a:tab pos="4228917" algn="l"/>
                <a:tab pos="4813200" algn="l"/>
                <a:tab pos="5397483" algn="l"/>
                <a:tab pos="5981401" algn="l"/>
                <a:tab pos="6565675" algn="l"/>
                <a:tab pos="7149958" algn="l"/>
                <a:tab pos="7734242" algn="l"/>
                <a:tab pos="8318159" algn="l"/>
                <a:tab pos="8902442" algn="l"/>
                <a:tab pos="9486717" algn="l"/>
                <a:tab pos="1007100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Visitor : </a:t>
            </a:r>
            <a:r>
              <a:rPr lang="en-US" sz="1600" dirty="0" err="1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ParseTimeVisitor!ASTCodegen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{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		// …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}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 err="1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SemanticTimePermissiveVisitor</a:t>
            </a: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 : Visitor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{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		// …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}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 err="1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SemanticTimeTransitiveVisitor</a:t>
            </a: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 : </a:t>
            </a:r>
            <a:r>
              <a:rPr lang="en-US" sz="1600" dirty="0" err="1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SemanticTimePermissiveVisitor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{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		// …</a:t>
            </a:r>
            <a:b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r>
              <a:rPr lang="en-US" sz="1600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  <a:t>}</a:t>
            </a:r>
            <a:br>
              <a:rPr lang="en-US" dirty="0">
                <a:highlight>
                  <a:scrgbClr r="0" g="0" b="0">
                    <a:alpha val="0"/>
                  </a:scrgbClr>
                </a:highlight>
                <a:latin typeface="Consolas" panose="020B0609020204030204" pitchFamily="49" charset="0"/>
              </a:rPr>
            </a:br>
            <a:endParaRPr lang="en-US" kern="0" dirty="0">
              <a:solidFill>
                <a:srgbClr val="000000"/>
              </a:solidFill>
              <a:highlight>
                <a:scrgbClr r="0" g="0" b="0">
                  <a:alpha val="0"/>
                </a:scrgbClr>
              </a:highlight>
              <a:latin typeface="Consolas" panose="020B0609020204030204" pitchFamily="49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68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ors limitations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19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657258" y="1340768"/>
            <a:ext cx="7826582" cy="2232248"/>
          </a:xfrm>
        </p:spPr>
        <p:txBody>
          <a:bodyPr>
            <a:no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l the mentioned visitors are in the shared frontend of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c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dc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>
                <a:solidFill>
                  <a:schemeClr val="tx1"/>
                </a:solidFill>
                <a:latin typeface="Consolas" panose="020B0609020204030204" pitchFamily="49" charset="0"/>
                <a:cs typeface="Arial" panose="020B0604020202020204" pitchFamily="34" charset="0"/>
              </a:rPr>
              <a:t>extern(C++)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needed.</a:t>
            </a:r>
          </a:p>
          <a:p>
            <a:pPr algn="l"/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D2A790-6FC4-29C1-0FC8-32B28588DE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258" y="3330640"/>
            <a:ext cx="6754168" cy="163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658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5932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5858" y="2132856"/>
            <a:ext cx="7826582" cy="2520280"/>
          </a:xfrm>
        </p:spPr>
        <p:txBody>
          <a:bodyPr>
            <a:norm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is a need for development tools in the  ecosystem</a:t>
            </a:r>
          </a:p>
          <a:p>
            <a:pPr lvl="0" algn="l">
              <a:buClr>
                <a:srgbClr val="000000"/>
              </a:buClr>
              <a:buSzPct val="75000"/>
              <a:buFont typeface="Helvetica Light" pitchFamily="2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Helvetica Light" pitchFamily="2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proper compiler library encourages the development of such tools</a:t>
            </a:r>
          </a:p>
          <a:p>
            <a:pPr algn="l"/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25807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511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 as a library in D-Scanne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0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05858" y="2132856"/>
            <a:ext cx="7826582" cy="3384376"/>
          </a:xfrm>
        </p:spPr>
        <p:txBody>
          <a:bodyPr>
            <a:no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 updates needed for 3rd party software as the compiler evolves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t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a library to the test.</a:t>
            </a:r>
          </a:p>
          <a:p>
            <a:pPr algn="l"/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763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214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has been done so fa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1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07998" y="1104732"/>
            <a:ext cx="8628498" cy="5132580"/>
          </a:xfrm>
        </p:spPr>
        <p:txBody>
          <a:bodyPr>
            <a:no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isitors for: imports,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um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rray, delete keyword,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unctions, default argument constructor, token dump.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nge interface for the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xer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the ability to tokenize white spaces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ditions where the current interface was lacking(ex: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StorageClassDeclaration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thod, visit method in transitive visitor for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orDeclaration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l"/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5409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has been done so fa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05858" y="1248748"/>
            <a:ext cx="8330638" cy="956116"/>
          </a:xfrm>
        </p:spPr>
        <p:txBody>
          <a:bodyPr>
            <a:noAutofit/>
          </a:bodyPr>
          <a:lstStyle/>
          <a:p>
            <a:pPr lvl="0" algn="l">
              <a:buClr>
                <a:srgbClr val="000000"/>
              </a:buClr>
              <a:buSzPct val="75000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check warns against the usage of the delete keyword.</a:t>
            </a:r>
          </a:p>
        </p:txBody>
      </p:sp>
      <p:sp>
        <p:nvSpPr>
          <p:cNvPr id="19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2</a:t>
            </a:r>
          </a:p>
        </p:txBody>
      </p:sp>
      <p:sp>
        <p:nvSpPr>
          <p:cNvPr id="2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21" name="Picture 2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D0CB044-2C89-C9FF-DFFE-C9A0244459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7148" y="3006333"/>
            <a:ext cx="7830643" cy="2191056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9A0D93A-EB7A-1FC7-CF21-902B72A4B453}"/>
              </a:ext>
            </a:extLst>
          </p:cNvPr>
          <p:cNvSpPr/>
          <p:nvPr/>
        </p:nvSpPr>
        <p:spPr>
          <a:xfrm>
            <a:off x="517554" y="3078342"/>
            <a:ext cx="6286693" cy="29445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3574717-35E6-23D9-3B42-43862628532E}"/>
              </a:ext>
            </a:extLst>
          </p:cNvPr>
          <p:cNvSpPr/>
          <p:nvPr/>
        </p:nvSpPr>
        <p:spPr>
          <a:xfrm>
            <a:off x="768817" y="3499702"/>
            <a:ext cx="3947199" cy="29445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6A2987E-534B-B63A-760E-093536BF7144}"/>
              </a:ext>
            </a:extLst>
          </p:cNvPr>
          <p:cNvSpPr/>
          <p:nvPr/>
        </p:nvSpPr>
        <p:spPr>
          <a:xfrm>
            <a:off x="1043608" y="3932920"/>
            <a:ext cx="6984776" cy="60781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65E0576-A538-2E19-C2A3-DE1B1AEBC51A}"/>
              </a:ext>
            </a:extLst>
          </p:cNvPr>
          <p:cNvSpPr/>
          <p:nvPr/>
        </p:nvSpPr>
        <p:spPr>
          <a:xfrm>
            <a:off x="1279123" y="4437112"/>
            <a:ext cx="1492678" cy="25729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162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has been done so fa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05858" y="1248748"/>
            <a:ext cx="8330638" cy="956116"/>
          </a:xfrm>
        </p:spPr>
        <p:txBody>
          <a:bodyPr>
            <a:noAutofit/>
          </a:bodyPr>
          <a:lstStyle/>
          <a:p>
            <a:pPr lvl="0" algn="l">
              <a:buClr>
                <a:srgbClr val="000000"/>
              </a:buClr>
              <a:buSzPct val="75000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check signals that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ttests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hould be annotated either </a:t>
            </a:r>
            <a:r>
              <a:rPr lang="en-US" sz="2800" dirty="0">
                <a:solidFill>
                  <a:schemeClr val="tx1"/>
                </a:solidFill>
                <a:latin typeface="Consolas" panose="020B0609020204030204" pitchFamily="49" charset="0"/>
                <a:cs typeface="Arial" panose="020B0604020202020204" pitchFamily="34" charset="0"/>
              </a:rPr>
              <a:t>@safe 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US" sz="2800" dirty="0">
                <a:solidFill>
                  <a:schemeClr val="tx1"/>
                </a:solidFill>
                <a:latin typeface="Consolas" panose="020B0609020204030204" pitchFamily="49" charset="0"/>
                <a:cs typeface="Arial" panose="020B0604020202020204" pitchFamily="34" charset="0"/>
              </a:rPr>
              <a:t>@system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9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3</a:t>
            </a:r>
          </a:p>
        </p:txBody>
      </p:sp>
      <p:sp>
        <p:nvSpPr>
          <p:cNvPr id="2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21" name="Picture 2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874D906-E3E9-629A-6FDF-8EF0AADFA4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555" y="2400875"/>
            <a:ext cx="8621328" cy="357237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BC48351-BFF6-3394-3C76-C25D2408966C}"/>
              </a:ext>
            </a:extLst>
          </p:cNvPr>
          <p:cNvSpPr/>
          <p:nvPr/>
        </p:nvSpPr>
        <p:spPr>
          <a:xfrm>
            <a:off x="496742" y="2472884"/>
            <a:ext cx="7171602" cy="34002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AA4FE3-7605-7FE8-47B2-3C0C4872C8FF}"/>
              </a:ext>
            </a:extLst>
          </p:cNvPr>
          <p:cNvSpPr/>
          <p:nvPr/>
        </p:nvSpPr>
        <p:spPr>
          <a:xfrm>
            <a:off x="527581" y="2907763"/>
            <a:ext cx="7171602" cy="34002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3DDDDE-F9FD-6230-0290-8F4E196F9B74}"/>
              </a:ext>
            </a:extLst>
          </p:cNvPr>
          <p:cNvSpPr/>
          <p:nvPr/>
        </p:nvSpPr>
        <p:spPr>
          <a:xfrm>
            <a:off x="555290" y="3847774"/>
            <a:ext cx="7171602" cy="34002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658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7" grpId="0" animBg="1"/>
      <p:bldP spid="7" grpId="1" animBg="1"/>
      <p:bldP spid="8" grpId="0" animBg="1"/>
      <p:bldP spid="8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314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has been done so fa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07998" y="1104732"/>
            <a:ext cx="8628498" cy="1964228"/>
          </a:xfrm>
        </p:spPr>
        <p:txBody>
          <a:bodyPr>
            <a:noAutofit/>
          </a:bodyPr>
          <a:lstStyle/>
          <a:p>
            <a:pPr lvl="0" algn="l">
              <a:buClr>
                <a:srgbClr val="000000"/>
              </a:buClr>
              <a:buSzPct val="75000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check signals unnecessary memory allocations in variables declared like:</a:t>
            </a:r>
          </a:p>
          <a:p>
            <a:pPr lvl="0" algn="l">
              <a:buClr>
                <a:srgbClr val="000000"/>
              </a:buClr>
              <a:buSzPct val="75000"/>
            </a:pPr>
            <a:r>
              <a:rPr lang="pt-BR" sz="2800" dirty="0">
                <a:solidFill>
                  <a:schemeClr val="tx1"/>
                </a:solidFill>
                <a:latin typeface="Consolas" panose="020B0609020204030204" pitchFamily="49" charset="0"/>
                <a:cs typeface="Arial" panose="020B0604020202020204" pitchFamily="34" charset="0"/>
              </a:rPr>
              <a:t>enum a = [1, 2, 3];</a:t>
            </a:r>
            <a:endParaRPr lang="de-AT" sz="2800" dirty="0">
              <a:solidFill>
                <a:schemeClr val="tx1"/>
              </a:solidFill>
              <a:latin typeface="Consolas" panose="020B0609020204030204" pitchFamily="49" charset="0"/>
              <a:cs typeface="Arial" panose="020B0604020202020204" pitchFamily="34" charset="0"/>
            </a:endParaRPr>
          </a:p>
        </p:txBody>
      </p:sp>
      <p:pic>
        <p:nvPicPr>
          <p:cNvPr id="12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2209" y="2741682"/>
            <a:ext cx="8508263" cy="320759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4" name="Rectangle 8"/>
          <p:cNvSpPr/>
          <p:nvPr/>
        </p:nvSpPr>
        <p:spPr>
          <a:xfrm>
            <a:off x="790195" y="3677786"/>
            <a:ext cx="8094012" cy="702226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5" name="Rectangle 9"/>
          <p:cNvSpPr/>
          <p:nvPr/>
        </p:nvSpPr>
        <p:spPr>
          <a:xfrm>
            <a:off x="790195" y="4541882"/>
            <a:ext cx="8094012" cy="186616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790195" y="4757906"/>
            <a:ext cx="8094012" cy="617783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7" name="Rectangle 11"/>
          <p:cNvSpPr/>
          <p:nvPr/>
        </p:nvSpPr>
        <p:spPr>
          <a:xfrm>
            <a:off x="790195" y="5405978"/>
            <a:ext cx="8094012" cy="192613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8" name="Rectangle 8"/>
          <p:cNvSpPr/>
          <p:nvPr/>
        </p:nvSpPr>
        <p:spPr>
          <a:xfrm>
            <a:off x="323528" y="2741682"/>
            <a:ext cx="8094012" cy="279668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19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4</a:t>
            </a:r>
          </a:p>
        </p:txBody>
      </p:sp>
      <p:sp>
        <p:nvSpPr>
          <p:cNvPr id="2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21" name="Picture 20" descr="fullsizeoutput_1.jpeg"/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27476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862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iculties encountered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5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05858" y="1150823"/>
            <a:ext cx="8114614" cy="4366409"/>
          </a:xfrm>
        </p:spPr>
        <p:txBody>
          <a:bodyPr>
            <a:no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is is what we expected to find in the wild and this is why this project improves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a library.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ser makes no difference between:</a:t>
            </a:r>
            <a:b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alias a b; and alias b = a;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nsitive visitor was lacking a visit method for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orDeclaration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pression class of ASTBase lacks a `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Chars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` method, which is fundamental in my opinion.</a:t>
            </a:r>
          </a:p>
          <a:p>
            <a:pPr algn="l"/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6961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ression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6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05858" y="1150823"/>
            <a:ext cx="8114614" cy="1558097"/>
          </a:xfrm>
        </p:spPr>
        <p:txBody>
          <a:bodyPr>
            <a:noAutofit/>
          </a:bodyPr>
          <a:lstStyle/>
          <a:p>
            <a:pPr algn="l"/>
            <a:r>
              <a:rPr lang="de-AT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how Expression is defined as part of the ASTCodegen family. Can we do the same for ASTBas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99E8D6-EFC5-48ED-656E-9A10FE07EC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817" y="2879015"/>
            <a:ext cx="5891415" cy="290934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2509FFC-6567-6D1F-91C8-AC392AFCE779}"/>
              </a:ext>
            </a:extLst>
          </p:cNvPr>
          <p:cNvSpPr/>
          <p:nvPr/>
        </p:nvSpPr>
        <p:spPr>
          <a:xfrm>
            <a:off x="1619672" y="4330167"/>
            <a:ext cx="2290754" cy="26722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153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501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7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05858" y="1222831"/>
            <a:ext cx="8114614" cy="4366409"/>
          </a:xfrm>
        </p:spPr>
        <p:txBody>
          <a:bodyPr>
            <a:no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plement the rest of the visitors in D-Scanner and fill in the gaps of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a library where needed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st importantly, reach a consensus at a community level on how the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face should ideally look like, so that it can easily be used in other projects as well.</a:t>
            </a:r>
          </a:p>
          <a:p>
            <a:pPr algn="l"/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701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988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28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05858" y="1850484"/>
            <a:ext cx="8114614" cy="3738756"/>
          </a:xfrm>
        </p:spPr>
        <p:txBody>
          <a:bodyPr>
            <a:no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e are using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development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tributions are always welcomed!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kern="0" dirty="0">
                <a:solidFill>
                  <a:srgbClr val="000000"/>
                </a:solidFill>
                <a:highlight>
                  <a:scrgbClr r="0" g="0" b="0">
                    <a:alpha val="0"/>
                  </a:scrgbClr>
                </a:highlight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ttps://github.com/Dlang-UPB/D-scanner</a:t>
            </a:r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292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3258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9592" y="116633"/>
            <a:ext cx="7340352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s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5858" y="2132856"/>
            <a:ext cx="7826582" cy="2520280"/>
          </a:xfrm>
        </p:spPr>
        <p:txBody>
          <a:bodyPr>
            <a:norm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prove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a library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grate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a library in D-Scanner</a:t>
            </a:r>
          </a:p>
          <a:p>
            <a:pPr algn="l"/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3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017053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6404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Scanne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5858" y="2132856"/>
            <a:ext cx="7826582" cy="2520280"/>
          </a:xfrm>
        </p:spPr>
        <p:txBody>
          <a:bodyPr>
            <a:normAutofit fontScale="92500"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-Scanner is a tool for analyzing D source code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-Scanner is based on visitors that traverse an AST and do a specific check for a specific node</a:t>
            </a:r>
          </a:p>
          <a:p>
            <a:pPr algn="l"/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4096674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5169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Scanner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5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2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5858" y="1484784"/>
            <a:ext cx="8114614" cy="362092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Rectangle 7"/>
          <p:cNvSpPr/>
          <p:nvPr/>
        </p:nvSpPr>
        <p:spPr>
          <a:xfrm>
            <a:off x="727458" y="3789040"/>
            <a:ext cx="8039730" cy="301665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8"/>
          <p:cNvSpPr/>
          <p:nvPr/>
        </p:nvSpPr>
        <p:spPr>
          <a:xfrm>
            <a:off x="732295" y="2450003"/>
            <a:ext cx="8039730" cy="301665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69043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4" grpId="0" animBg="1"/>
      <p:bldP spid="14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9043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 as a library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6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88351DCE-E343-B918-526A-BF69A934C0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511" y="1298450"/>
            <a:ext cx="7448515" cy="3642718"/>
          </a:xfrm>
          <a:prstGeom prst="rect">
            <a:avLst/>
          </a:prstGeom>
        </p:spPr>
      </p:pic>
      <p:sp>
        <p:nvSpPr>
          <p:cNvPr id="13" name="Rectangle 14">
            <a:extLst>
              <a:ext uri="{FF2B5EF4-FFF2-40B4-BE49-F238E27FC236}">
                <a16:creationId xmlns:a16="http://schemas.microsoft.com/office/drawing/2014/main" id="{3E4A79DE-978C-9803-5ECA-0D572D974859}"/>
              </a:ext>
            </a:extLst>
          </p:cNvPr>
          <p:cNvSpPr/>
          <p:nvPr/>
        </p:nvSpPr>
        <p:spPr>
          <a:xfrm>
            <a:off x="1397402" y="2718926"/>
            <a:ext cx="6194511" cy="864096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B09BBDFE-8A67-2F04-9EE3-B4EC6E4FECD5}"/>
              </a:ext>
            </a:extLst>
          </p:cNvPr>
          <p:cNvSpPr/>
          <p:nvPr/>
        </p:nvSpPr>
        <p:spPr>
          <a:xfrm>
            <a:off x="1375645" y="3828735"/>
            <a:ext cx="6194511" cy="864096"/>
          </a:xfrm>
          <a:prstGeom prst="rect">
            <a:avLst/>
          </a:prstGeom>
          <a:noFill/>
          <a:ln w="19046" cap="flat">
            <a:solidFill>
              <a:srgbClr val="FF000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7289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4" grpId="0" animBg="1"/>
      <p:bldP spid="14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 as a library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7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C3E6E3EC-7DE9-A779-C4EB-790660A897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1628800"/>
            <a:ext cx="3456384" cy="4132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691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d as a library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8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AA257547-EB1E-58DE-0B28-CC9329F461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5" y="1662112"/>
            <a:ext cx="1440358" cy="4143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506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363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858" y="116633"/>
            <a:ext cx="7534086" cy="936104"/>
          </a:xfrm>
        </p:spPr>
        <p:txBody>
          <a:bodyPr vert="horz">
            <a:normAutofit/>
          </a:bodyPr>
          <a:lstStyle/>
          <a:p>
            <a:pPr algn="l"/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Base vs </a:t>
            </a:r>
            <a:r>
              <a:rPr lang="en-US" sz="3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Codegen</a:t>
            </a:r>
            <a:endParaRPr lang="de-AT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12"/>
          <p:cNvCxnSpPr/>
          <p:nvPr/>
        </p:nvCxnSpPr>
        <p:spPr>
          <a:xfrm flipV="1">
            <a:off x="705858" y="914380"/>
            <a:ext cx="7754574" cy="66348"/>
          </a:xfrm>
          <a:prstGeom prst="line">
            <a:avLst/>
          </a:prstGeom>
          <a:noFill/>
          <a:ln w="38100" cap="flat" cmpd="sng" algn="ctr">
            <a:solidFill>
              <a:srgbClr val="FFEB00"/>
            </a:solidFill>
            <a:prstDash val="solid"/>
          </a:ln>
          <a:effectLst/>
        </p:spPr>
      </p:cxnSp>
      <p:sp>
        <p:nvSpPr>
          <p:cNvPr id="8" name="Foliennummernplatzhalter 5"/>
          <p:cNvSpPr txBox="1">
            <a:spLocks/>
          </p:cNvSpPr>
          <p:nvPr/>
        </p:nvSpPr>
        <p:spPr>
          <a:xfrm>
            <a:off x="517555" y="6365324"/>
            <a:ext cx="251262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</a:rPr>
              <a:t>9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06304" y="6409326"/>
            <a:ext cx="0" cy="183605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Foliennummernplatzhalter 5"/>
          <p:cNvSpPr txBox="1">
            <a:spLocks/>
          </p:cNvSpPr>
          <p:nvPr/>
        </p:nvSpPr>
        <p:spPr>
          <a:xfrm>
            <a:off x="873511" y="6365323"/>
            <a:ext cx="5097920" cy="246221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GB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 err="1"/>
              <a:t>DConf</a:t>
            </a:r>
            <a:r>
              <a:rPr lang="en-US" sz="1100" dirty="0"/>
              <a:t> 2022 London, August 1-4, 2022</a:t>
            </a:r>
          </a:p>
        </p:txBody>
      </p:sp>
      <p:pic>
        <p:nvPicPr>
          <p:cNvPr id="11" name="Picture 10" descr="fullsizeoutput_1.jpeg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8184860" y="6041299"/>
            <a:ext cx="551143" cy="55163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705858" y="1150823"/>
            <a:ext cx="7826582" cy="4366409"/>
          </a:xfrm>
        </p:spPr>
        <p:txBody>
          <a:bodyPr>
            <a:noAutofit/>
          </a:bodyPr>
          <a:lstStyle/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TBase shall be used when parsing without extensive semantic analysis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Codegen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hall be used when also performing semantic analysis</a:t>
            </a: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0" indent="-360000" algn="l">
              <a:buClr>
                <a:srgbClr val="00000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wever, some might argue that ASTBase is only a bunch of duplicated code, without serving a specific purpose.</a:t>
            </a:r>
          </a:p>
          <a:p>
            <a:pPr algn="l"/>
            <a:endParaRPr lang="de-AT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228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60B2C35C779C4D800DC6B757B2065F" ma:contentTypeVersion="11" ma:contentTypeDescription="Create a new document." ma:contentTypeScope="" ma:versionID="59a8f2f42c9ed19edd0653d71c19ef5a">
  <xsd:schema xmlns:xsd="http://www.w3.org/2001/XMLSchema" xmlns:xs="http://www.w3.org/2001/XMLSchema" xmlns:p="http://schemas.microsoft.com/office/2006/metadata/properties" xmlns:ns3="26da2bda-258e-43a3-b394-500317450661" targetNamespace="http://schemas.microsoft.com/office/2006/metadata/properties" ma:root="true" ma:fieldsID="fad770709b820d3438fdb379ec8b01dd" ns3:_="">
    <xsd:import namespace="26da2bda-258e-43a3-b394-50031745066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da2bda-258e-43a3-b394-5003174506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03F7AE2-7677-4953-A9CA-4521ED0AC407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26da2bda-258e-43a3-b394-500317450661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50BAF85-7B27-4A0D-A7B8-5D31AB6DD0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da2bda-258e-43a3-b394-5003174506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EB7D63B-D024-488F-8330-B2A0A3F802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78</TotalTime>
  <Words>958</Words>
  <Application>Microsoft Office PowerPoint</Application>
  <PresentationFormat>On-screen Show (4:3)</PresentationFormat>
  <Paragraphs>142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Calibri</vt:lpstr>
      <vt:lpstr>Consolas</vt:lpstr>
      <vt:lpstr>Helvetica Light</vt:lpstr>
      <vt:lpstr>Office Theme</vt:lpstr>
      <vt:lpstr>think-cell Slide</vt:lpstr>
      <vt:lpstr>PowerPoint Presentation</vt:lpstr>
      <vt:lpstr>Introduction</vt:lpstr>
      <vt:lpstr>Goals</vt:lpstr>
      <vt:lpstr>D-Scanner</vt:lpstr>
      <vt:lpstr>D-Scanner</vt:lpstr>
      <vt:lpstr>Dmd as a library</vt:lpstr>
      <vt:lpstr>Dmd as a library</vt:lpstr>
      <vt:lpstr>Dmd as a library</vt:lpstr>
      <vt:lpstr>ASTBase vs ASTCodegen</vt:lpstr>
      <vt:lpstr>ASTBase vs ASTCodegen</vt:lpstr>
      <vt:lpstr>ASTBase vs ASTCodegen</vt:lpstr>
      <vt:lpstr>ASTBase vs ASTCodegen</vt:lpstr>
      <vt:lpstr>Visitors</vt:lpstr>
      <vt:lpstr>Parse Time Visitor</vt:lpstr>
      <vt:lpstr>Strict Visitor</vt:lpstr>
      <vt:lpstr>Permissive Visitor</vt:lpstr>
      <vt:lpstr>Transitive Visitor</vt:lpstr>
      <vt:lpstr>Semantic time visitors</vt:lpstr>
      <vt:lpstr>Visitors limitations</vt:lpstr>
      <vt:lpstr>Dmd as a library in D-Scanner</vt:lpstr>
      <vt:lpstr>What has been done so far</vt:lpstr>
      <vt:lpstr>What has been done so far</vt:lpstr>
      <vt:lpstr>What has been done so far</vt:lpstr>
      <vt:lpstr>What has been done so far</vt:lpstr>
      <vt:lpstr>Difficulties encountered</vt:lpstr>
      <vt:lpstr>Expression</vt:lpstr>
      <vt:lpstr>Next steps</vt:lpstr>
      <vt:lpstr>Conclusion</vt:lpstr>
    </vt:vector>
  </TitlesOfParts>
  <Company>Global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</dc:title>
  <dc:creator>Danescu, Eugen-Sorin</dc:creator>
  <cp:lastModifiedBy>Lucian Danescu</cp:lastModifiedBy>
  <cp:revision>22</cp:revision>
  <dcterms:created xsi:type="dcterms:W3CDTF">2022-07-28T15:14:29Z</dcterms:created>
  <dcterms:modified xsi:type="dcterms:W3CDTF">2022-08-03T10:2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60B2C35C779C4D800DC6B757B2065F</vt:lpwstr>
  </property>
</Properties>
</file>